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handoutMasterIdLst>
    <p:handoutMasterId r:id="rId17"/>
  </p:handoutMasterIdLst>
  <p:sldIdLst>
    <p:sldId id="266" r:id="rId2"/>
    <p:sldId id="256" r:id="rId3"/>
    <p:sldId id="257" r:id="rId4"/>
    <p:sldId id="268" r:id="rId5"/>
    <p:sldId id="279" r:id="rId6"/>
    <p:sldId id="292" r:id="rId7"/>
    <p:sldId id="258" r:id="rId8"/>
    <p:sldId id="280" r:id="rId9"/>
    <p:sldId id="293" r:id="rId10"/>
    <p:sldId id="267" r:id="rId11"/>
    <p:sldId id="294" r:id="rId12"/>
    <p:sldId id="295" r:id="rId13"/>
    <p:sldId id="296" r:id="rId14"/>
    <p:sldId id="297" r:id="rId15"/>
  </p:sldIdLst>
  <p:sldSz cx="12192000" cy="6858000"/>
  <p:notesSz cx="6797675" cy="9926638"/>
  <p:custDataLst>
    <p:tags r:id="rId1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208" autoAdjust="0"/>
    <p:restoredTop sz="95322" autoAdjust="0"/>
  </p:normalViewPr>
  <p:slideViewPr>
    <p:cSldViewPr snapToGrid="0">
      <p:cViewPr varScale="1">
        <p:scale>
          <a:sx n="108" d="100"/>
          <a:sy n="108" d="100"/>
        </p:scale>
        <p:origin x="126" y="12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0" d="100"/>
          <a:sy n="80" d="100"/>
        </p:scale>
        <p:origin x="393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88ADDE-E76A-41F9-85AD-08F429110126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0B3232-0ECE-4283-ABC8-400735AFB1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32462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8056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8056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2F3FAB10-E226-4A57-9C0B-0EB3722713F1}" type="datetimeFigureOut">
              <a:rPr lang="en-US" smtClean="0"/>
              <a:t>4/3/2024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08" tIns="46054" rIns="92108" bIns="46054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2108" tIns="46054" rIns="92108" bIns="4605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60" cy="498055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28584"/>
            <a:ext cx="2945660" cy="498055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2147C3F7-68DC-4150-871A-EC7375972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833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075">
              <a:defRPr/>
            </a:pPr>
            <a:r>
              <a:rPr lang="kk-KZ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76,91%</a:t>
            </a:r>
            <a:endParaRPr lang="ru-RU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7C3F7-68DC-4150-871A-EC7375972D6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9127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075">
              <a:defRPr/>
            </a:pPr>
            <a:endParaRPr lang="ru-RU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7C3F7-68DC-4150-871A-EC7375972D6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899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075">
              <a:defRPr/>
            </a:pPr>
            <a:endParaRPr lang="ru-RU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7C3F7-68DC-4150-871A-EC7375972D6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8167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075">
              <a:defRPr/>
            </a:pPr>
            <a:endParaRPr lang="ru-RU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7C3F7-68DC-4150-871A-EC7375972D6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2446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7C3F7-68DC-4150-871A-EC7375972D6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0310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7C3F7-68DC-4150-871A-EC7375972D6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6602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7C3F7-68DC-4150-871A-EC7375972D6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8090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1807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20978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0044017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08053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2419974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59996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41570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6262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3429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3625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69977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71685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32737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00229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86380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96930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2">
                <a:tint val="90000"/>
                <a:satMod val="92000"/>
                <a:lumMod val="120000"/>
              </a:schemeClr>
            </a:gs>
            <a:gs pos="100000">
              <a:schemeClr val="bg2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087877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9" imgW="347" imgH="348" progId="TCLayout.ActiveDocument.1">
                  <p:embed/>
                </p:oleObj>
              </mc:Choice>
              <mc:Fallback>
                <p:oleObj name="Слайд think-cell" r:id="rId19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5326D3-3F11-4E00-86F6-8A3E6D3A93DB}" type="datetimeFigureOut">
              <a:rPr lang="ru-RU" smtClean="0"/>
              <a:t>03.04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2344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9340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47" imgH="348" progId="TCLayout.ActiveDocument.1">
                  <p:embed/>
                </p:oleObj>
              </mc:Choice>
              <mc:Fallback>
                <p:oleObj name="Слайд think-cell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1811785" y="2009955"/>
            <a:ext cx="8915400" cy="2009784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endParaRPr lang="ru-RU" sz="2800" b="1" dirty="0">
              <a:solidFill>
                <a:schemeClr val="tx1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107000"/>
              </a:lnSpc>
              <a:buNone/>
            </a:pPr>
            <a:r>
              <a:rPr lang="ru-RU" sz="28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нтикоррупционное законодательство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ru-RU" sz="2800" b="1" dirty="0">
              <a:solidFill>
                <a:schemeClr val="tx1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ru-RU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r">
              <a:lnSpc>
                <a:spcPct val="107000"/>
              </a:lnSpc>
              <a:buNone/>
            </a:pPr>
            <a:r>
              <a:rPr lang="ru-R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r">
              <a:lnSpc>
                <a:spcPct val="107000"/>
              </a:lnSpc>
              <a:buNone/>
            </a:pPr>
            <a:r>
              <a:rPr lang="ru-RU" sz="20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Балабаева А., </a:t>
            </a:r>
            <a:endParaRPr lang="en-US" sz="160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r">
              <a:lnSpc>
                <a:spcPct val="107000"/>
              </a:lnSpc>
              <a:buNone/>
            </a:pPr>
            <a:r>
              <a:rPr lang="ru-RU" sz="20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мплаенс-офицер</a:t>
            </a:r>
            <a:endParaRPr lang="en-US" sz="160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r">
              <a:lnSpc>
                <a:spcPct val="107000"/>
              </a:lnSpc>
              <a:buNone/>
            </a:pPr>
            <a:r>
              <a:rPr lang="ru-R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107000"/>
              </a:lnSpc>
              <a:buNone/>
            </a:pPr>
            <a:r>
              <a:rPr lang="ru-R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стана, 2024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107000"/>
              </a:lnSpc>
              <a:buNone/>
            </a:pPr>
            <a:r>
              <a:rPr lang="ru-R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107000"/>
              </a:lnSpc>
              <a:buNone/>
            </a:pPr>
            <a:r>
              <a:rPr lang="ru-R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                  </a:t>
            </a:r>
            <a:endParaRPr lang="ru-RU" sz="2000" b="1" dirty="0">
              <a:solidFill>
                <a:schemeClr val="tx1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875226D-4EC7-B384-EF2C-8A66033D88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134" y="325924"/>
            <a:ext cx="846345" cy="84634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E62828A-CA1E-25B3-F92D-79A077A7EE07}"/>
              </a:ext>
            </a:extLst>
          </p:cNvPr>
          <p:cNvSpPr txBox="1"/>
          <p:nvPr/>
        </p:nvSpPr>
        <p:spPr>
          <a:xfrm>
            <a:off x="1475479" y="325924"/>
            <a:ext cx="221157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РГП </a:t>
            </a:r>
            <a:r>
              <a:rPr lang="ru-RU" sz="1800" b="1" cap="none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на</a:t>
            </a:r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ПХВ</a:t>
            </a:r>
          </a:p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«ЦЕНТР АНАЛИЗА И ИНФОРМАЦИИ»</a:t>
            </a:r>
            <a:endParaRPr lang="id-ID" sz="1800" b="1" spc="0" dirty="0">
              <a:solidFill>
                <a:schemeClr val="accent4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39224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410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47" imgH="348" progId="TCLayout.ActiveDocument.1">
                  <p:embed/>
                </p:oleObj>
              </mc:Choice>
              <mc:Fallback>
                <p:oleObj name="Слайд think-cell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94080" y="1362974"/>
            <a:ext cx="9834327" cy="4858531"/>
          </a:xfrm>
        </p:spPr>
        <p:txBody>
          <a:bodyPr>
            <a:noAutofit/>
          </a:bodyPr>
          <a:lstStyle/>
          <a:p>
            <a:pPr marL="0" indent="0" algn="ctr">
              <a:lnSpc>
                <a:spcPct val="107000"/>
              </a:lnSpc>
              <a:buNone/>
            </a:pP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НТИКОРРУПЦИОННАЯ ПОЛИТИКА РЕСПУБЛИКИ КАЗАХСТАН</a:t>
            </a:r>
          </a:p>
          <a:p>
            <a:pPr algn="just">
              <a:lnSpc>
                <a:spcPct val="107000"/>
              </a:lnSpc>
            </a:pP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   </a:t>
            </a: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нтикоррупционная политика Казахстана постоянно совершенствуется исходя из запросов общества с учетом национальной практики и передового зарубежного опыта.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      Последовательный и комплексный подход в данном направлении обеспечен через реализацию Антикоррупционной стратегии Республики Казахстан на 2015-2025 годы, утвержденной Указом Президента Республики Казахстан от 26 декабря 2014 года № 986 (далее - Антикоррупционная стратегия).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 принятием Закона «О противодействии коррупции» 18 ноября 2015 года создана система мер противодействия коррупции с разумным балансом превентивных и уголовно-правовых инструментов.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борьбу с коррупцией активно вовлекается гражданское общество через антикоррупционное просвещение и создание атмосферы «нулевой» терпимости к любым ее проявлениям.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здан независимый уполномоченный орган по противодействию коррупции - Агентство Республики Казахстан по противодействию коррупции (Антикоррупционная служба), подчиненное и подотчетное Президенту Республики Казахстан.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национальное антикоррупционное движение вовлечены все заинтересованные группы: учащиеся, студенты, преподаватели, государственные служащие, предприниматели, инвесторы, независимые эксперты, волонтеры и другие.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 всем специальностям </a:t>
            </a:r>
            <a:r>
              <a:rPr lang="ru-RU" sz="1100" b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бакалавриата</a:t>
            </a: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образовательные программы дополнены элективным предметом «Основы антикоррупционной культуры».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казом Президента Республики Казахстан от 02 февраля 2022 года №802 утверждена «Концепция антикоррупционной политики Республики Казахстан на 2022-2026 годы».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нцепция нацелена на переход от борьбы с последствиями к системному устранению предпосылок коррупции, обеспечению неотвратимости ответственности, коренному изменению общественного сознания.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100" dirty="0"/>
          </a:p>
          <a:p>
            <a:pPr marL="0" indent="0">
              <a:buNone/>
            </a:pPr>
            <a:endParaRPr lang="ru-RU" sz="1100" dirty="0"/>
          </a:p>
          <a:p>
            <a:pPr marL="0" indent="0">
              <a:buNone/>
            </a:pPr>
            <a:endParaRPr lang="ru-RU" sz="1100" dirty="0"/>
          </a:p>
          <a:p>
            <a:pPr marL="0" indent="0">
              <a:buNone/>
            </a:pPr>
            <a:endParaRPr lang="ru-RU" sz="11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F0DBA3-69F9-6560-0CF2-2BEA416802DB}"/>
              </a:ext>
            </a:extLst>
          </p:cNvPr>
          <p:cNvSpPr txBox="1"/>
          <p:nvPr/>
        </p:nvSpPr>
        <p:spPr>
          <a:xfrm>
            <a:off x="1475479" y="325924"/>
            <a:ext cx="221157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РГП </a:t>
            </a:r>
            <a:r>
              <a:rPr lang="ru-RU" sz="1800" b="1" cap="none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на</a:t>
            </a:r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ПХВ</a:t>
            </a:r>
          </a:p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«ЦЕНТР АНАЛИЗА И ИНФОРМАЦИИ»</a:t>
            </a:r>
            <a:endParaRPr lang="id-ID" sz="1800" b="1" spc="0" dirty="0">
              <a:solidFill>
                <a:schemeClr val="accent4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A6752C6-8427-DC60-741B-C46FB574DA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134" y="325924"/>
            <a:ext cx="846345" cy="84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4789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410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47" imgH="348" progId="TCLayout.ActiveDocument.1">
                  <p:embed/>
                </p:oleObj>
              </mc:Choice>
              <mc:Fallback>
                <p:oleObj name="Слайд think-cell" r:id="rId3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096218" y="1224951"/>
            <a:ext cx="9169879" cy="4996554"/>
          </a:xfrm>
        </p:spPr>
        <p:txBody>
          <a:bodyPr>
            <a:normAutofit/>
          </a:bodyPr>
          <a:lstStyle/>
          <a:p>
            <a:pPr indent="0" algn="just">
              <a:lnSpc>
                <a:spcPct val="107000"/>
              </a:lnSpc>
              <a:buNone/>
            </a:pPr>
            <a:r>
              <a:rPr lang="ru-RU" sz="19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отиводействие коррупции в </a:t>
            </a:r>
            <a:r>
              <a:rPr lang="ru-RU" sz="1900" b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вазигосударственном</a:t>
            </a:r>
            <a:r>
              <a:rPr lang="ru-RU" sz="19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и частном секторах: </a:t>
            </a:r>
            <a:endParaRPr lang="en-US" sz="19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15875" algn="just">
              <a:lnSpc>
                <a:spcPct val="107000"/>
              </a:lnSpc>
              <a:tabLst>
                <a:tab pos="447675" algn="l"/>
                <a:tab pos="538163" algn="l"/>
                <a:tab pos="717550" algn="l"/>
              </a:tabLs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конодательно закреплено создание антикоррупционных 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мплаенс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служб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15875" algn="just">
              <a:lnSpc>
                <a:spcPct val="107000"/>
              </a:lnSpc>
              <a:tabLst>
                <a:tab pos="447675" algn="l"/>
                <a:tab pos="538163" algn="l"/>
                <a:tab pos="717550" algn="l"/>
              </a:tabLs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силение ответственности за коррупцию и обеспечение неотвратимости наказания: 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15875" algn="just">
              <a:lnSpc>
                <a:spcPct val="107000"/>
              </a:lnSpc>
              <a:tabLst>
                <a:tab pos="447675" algn="l"/>
                <a:tab pos="538163" algn="l"/>
                <a:tab pos="717550" algn="l"/>
              </a:tabLs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ействует пожизненный запрет на трудоустройство на государственную службу и в субъекты 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вазигосударственного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сектора для лиц, совершивших коррупционные преступления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15875" algn="just">
              <a:lnSpc>
                <a:spcPct val="107000"/>
              </a:lnSpc>
              <a:tabLst>
                <a:tab pos="447675" algn="l"/>
                <a:tab pos="538163" algn="l"/>
                <a:tab pos="717550" algn="l"/>
              </a:tabLs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веден институт персональной ответственности руководителей государственных органов, организаций, субъектов 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вазигосударственного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сектора за коррупцию подчиненных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07000"/>
              </a:lnSpc>
              <a:buNone/>
              <a:tabLst>
                <a:tab pos="447675" algn="l"/>
                <a:tab pos="538163" algn="l"/>
                <a:tab pos="717550" algn="l"/>
              </a:tabLs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еждународное сотрудничество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15875" algn="just">
              <a:lnSpc>
                <a:spcPct val="107000"/>
              </a:lnSpc>
              <a:tabLst>
                <a:tab pos="447675" algn="l"/>
                <a:tab pos="538163" algn="l"/>
                <a:tab pos="717550" algn="l"/>
              </a:tabLs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азахстан присоединился к основным международным конвенциям в сфере противодействия коррупции и отмыванию доходов, Стамбульскому плану действий по борьбе против коррупции (в рамках сети Организации экономического сотрудничества и развития (ОЭСР) и вступил в Группу государств против коррупции (ГРЕКО)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107000"/>
              </a:lnSpc>
              <a:buNone/>
            </a:pP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92405A-163B-29AF-A765-F0499D777612}"/>
              </a:ext>
            </a:extLst>
          </p:cNvPr>
          <p:cNvSpPr txBox="1"/>
          <p:nvPr/>
        </p:nvSpPr>
        <p:spPr>
          <a:xfrm>
            <a:off x="1475479" y="325924"/>
            <a:ext cx="221157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РГП </a:t>
            </a:r>
            <a:r>
              <a:rPr lang="ru-RU" sz="1800" b="1" cap="none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на</a:t>
            </a:r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ПХВ</a:t>
            </a:r>
          </a:p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«ЦЕНТР АНАЛИЗА И ИНФОРМАЦИИ»</a:t>
            </a:r>
            <a:endParaRPr lang="id-ID" sz="1800" b="1" spc="0" dirty="0">
              <a:solidFill>
                <a:schemeClr val="accent4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0A87AAD-590C-6F28-7AA7-E5F9BAD588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134" y="325924"/>
            <a:ext cx="846345" cy="84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348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410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47" imgH="348" progId="TCLayout.ActiveDocument.1">
                  <p:embed/>
                </p:oleObj>
              </mc:Choice>
              <mc:Fallback>
                <p:oleObj name="Слайд think-cell" r:id="rId3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94081" y="1147482"/>
            <a:ext cx="8915400" cy="507402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dirty="0"/>
          </a:p>
          <a:p>
            <a:pPr marL="358775" indent="0" algn="just">
              <a:spcAft>
                <a:spcPts val="800"/>
              </a:spcAft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зработаны и утверждены, а также размещены на сайте balletacademy.edu.kz внутренние нормативные документы (ВНД) по противодействию коррупции: 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8775" indent="0" algn="just">
              <a:spcAft>
                <a:spcPts val="8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нтикоррупционная политика;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8775" indent="0" algn="just">
              <a:spcAft>
                <a:spcPts val="8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нтикоррупционный стандарт; 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8775" indent="0" algn="just">
              <a:spcAft>
                <a:spcPts val="8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литика противодействия коррупции;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8775" indent="0" algn="just">
              <a:spcAft>
                <a:spcPts val="8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литика по выявлению и урегулированию конфликта интересов должностных лиц и работников; 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8775" indent="0" algn="just">
              <a:spcAft>
                <a:spcPts val="8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нструкция по противодействию коррупции и коммерческому подкупу;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8775" indent="0" algn="just">
              <a:spcAft>
                <a:spcPts val="8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ложение об антикоррупционной </a:t>
            </a:r>
            <a:r>
              <a:rPr lang="ru-RU" b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мплаенс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службе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F4C73F-0650-29F3-8C20-46EC28246378}"/>
              </a:ext>
            </a:extLst>
          </p:cNvPr>
          <p:cNvSpPr txBox="1"/>
          <p:nvPr/>
        </p:nvSpPr>
        <p:spPr>
          <a:xfrm>
            <a:off x="1475479" y="325924"/>
            <a:ext cx="221157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РГП </a:t>
            </a:r>
            <a:r>
              <a:rPr lang="ru-RU" sz="1800" b="1" cap="none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на</a:t>
            </a:r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ПХВ</a:t>
            </a:r>
          </a:p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«ЦЕНТР АНАЛИЗА И ИНФОРМАЦИИ»</a:t>
            </a:r>
            <a:endParaRPr lang="id-ID" sz="1800" b="1" spc="0" dirty="0">
              <a:solidFill>
                <a:schemeClr val="accent4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A580633-CD4D-D0B2-C2B8-804BA82AC3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134" y="325924"/>
            <a:ext cx="846345" cy="84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6815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410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47" imgH="348" progId="TCLayout.ActiveDocument.1">
                  <p:embed/>
                </p:oleObj>
              </mc:Choice>
              <mc:Fallback>
                <p:oleObj name="Слайд think-cell" r:id="rId3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94081" y="1147482"/>
            <a:ext cx="8915400" cy="507402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dirty="0"/>
          </a:p>
          <a:p>
            <a:pPr marL="0" indent="0" algn="just">
              <a:lnSpc>
                <a:spcPct val="107000"/>
              </a:lnSpc>
              <a:spcAft>
                <a:spcPts val="800"/>
              </a:spcAft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целях обеспечения возможности обращения работников и обучающихся с заявлениями о фактах нарушения ими своих прав и законных интересов установлен «Ящик доверия» в Предприятии: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just">
              <a:lnSpc>
                <a:spcPct val="107000"/>
              </a:lnSpc>
              <a:spcAft>
                <a:spcPts val="800"/>
              </a:spcAft>
              <a:buNone/>
              <a:tabLst>
                <a:tab pos="630555" algn="l"/>
              </a:tabLst>
            </a:pPr>
            <a:r>
              <a:rPr lang="kk-KZ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Также в целях оказания консультативных, справочно-информационных, социально-правовых услуг создан Call-центр: 1424. 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just">
              <a:lnSpc>
                <a:spcPct val="107000"/>
              </a:lnSpc>
              <a:spcAft>
                <a:spcPts val="800"/>
              </a:spcAft>
              <a:buNone/>
              <a:tabLst>
                <a:tab pos="630555" algn="l"/>
              </a:tabLst>
            </a:pPr>
            <a:r>
              <a:rPr lang="kk-KZ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и и задачи работы Call-центра: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  <a:tabLst>
                <a:tab pos="630555" algn="l"/>
              </a:tabLst>
            </a:pPr>
            <a:r>
              <a:rPr lang="kk-KZ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ием телефонных сообщений о коррупционных правонарушениях и бесплатная консультационная поддержка граждан по вопросам противодействия коррупции;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  <a:tabLst>
                <a:tab pos="630555" algn="l"/>
              </a:tabLst>
            </a:pPr>
            <a:r>
              <a:rPr lang="kk-KZ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воевременное рассмотрение поступивших обращений субъектов образовательного процесса, а также направление их на рассмотрение должностным лицам Академии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F3DD49D-FEC7-B7B3-D367-5D85071EA27E}"/>
              </a:ext>
            </a:extLst>
          </p:cNvPr>
          <p:cNvSpPr txBox="1"/>
          <p:nvPr/>
        </p:nvSpPr>
        <p:spPr>
          <a:xfrm>
            <a:off x="1475479" y="325924"/>
            <a:ext cx="221157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РГП </a:t>
            </a:r>
            <a:r>
              <a:rPr lang="ru-RU" sz="1800" b="1" cap="none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на</a:t>
            </a:r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ПХВ</a:t>
            </a:r>
          </a:p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«ЦЕНТР АНАЛИЗА И ИНФОРМАЦИИ»</a:t>
            </a:r>
            <a:endParaRPr lang="id-ID" sz="1800" b="1" spc="0" dirty="0">
              <a:solidFill>
                <a:schemeClr val="accent4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58C6B2C-DD2B-02F9-E910-CCAAC56800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134" y="325924"/>
            <a:ext cx="846345" cy="84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851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410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47" imgH="348" progId="TCLayout.ActiveDocument.1">
                  <p:embed/>
                </p:oleObj>
              </mc:Choice>
              <mc:Fallback>
                <p:oleObj name="Слайд think-cell" r:id="rId3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94081" y="1147482"/>
            <a:ext cx="8915400" cy="507402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dirty="0"/>
          </a:p>
          <a:p>
            <a:pPr marL="0" indent="0" algn="ctr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lvl="0" indent="0" algn="ctr">
              <a:buClr>
                <a:srgbClr val="A53010"/>
              </a:buClr>
              <a:buNone/>
            </a:pPr>
            <a:r>
              <a:rPr lang="ru-RU" sz="36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БЛАГОДАРЮ ЗА ВНИМАНИЕ!!!</a:t>
            </a:r>
          </a:p>
        </p:txBody>
      </p:sp>
    </p:spTree>
    <p:extLst>
      <p:ext uri="{BB962C8B-B14F-4D97-AF65-F5344CB8AC3E}">
        <p14:creationId xmlns:p14="http://schemas.microsoft.com/office/powerpoint/2010/main" val="11407351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6241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47" imgH="348" progId="TCLayout.ActiveDocument.1">
                  <p:embed/>
                </p:oleObj>
              </mc:Choice>
              <mc:Fallback>
                <p:oleObj name="Слайд think-cell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959667" y="343265"/>
            <a:ext cx="9144000" cy="619125"/>
          </a:xfrm>
        </p:spPr>
        <p:txBody>
          <a:bodyPr vert="horz">
            <a:normAutofit fontScale="90000"/>
          </a:bodyPr>
          <a:lstStyle/>
          <a:p>
            <a:pPr algn="l"/>
            <a:r>
              <a:rPr lang="ru-RU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endParaRPr lang="ru-RU" sz="3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Rectangle 1"/>
          <p:cNvSpPr>
            <a:spLocks noGrp="1" noChangeArrowheads="1"/>
          </p:cNvSpPr>
          <p:nvPr>
            <p:ph type="subTitle" idx="4294967295"/>
          </p:nvPr>
        </p:nvSpPr>
        <p:spPr bwMode="auto">
          <a:xfrm>
            <a:off x="1852328" y="272705"/>
            <a:ext cx="8924925" cy="21082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indent="0" algn="ctr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ru-RU" sz="2400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ru-RU" sz="2400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ru-RU" sz="2400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24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«Коррупция – это раковая опухоль общества»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100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                                                                                              Джеймс Вулфенсон, глава Всемирного Банка, 1996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kumimoji="0" lang="ru-RU" altLang="ru-RU" sz="2400" b="1" i="0" u="none" strike="noStrike" cap="none" normalizeH="0" baseline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274321" y="1630392"/>
            <a:ext cx="9302327" cy="4582076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6000"/>
              </a:lnSpc>
              <a:buNone/>
            </a:pPr>
            <a:endParaRPr lang="ru-RU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just">
              <a:lnSpc>
                <a:spcPct val="107000"/>
              </a:lnSpc>
              <a:buNone/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лово «коррупция» (от лат. «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orumper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») имеет множество значений: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рча, упадок, подкуп, обольщение, совращение, превратность, расстраивать дела, подвергать разрушению, искажать, фальсифицировать, осквернять, позорить достоинство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римском праве слово «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orrumpire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» имеет значение «разламывать, портить, разрушать, повреждать, фальсифицировать, подкупать», а также «совращение, упадок, извращенность, плохое состояние, превратность (мнения или взгляда)»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buFont typeface="Wingdings 3" charset="2"/>
              <a:buNone/>
            </a:pPr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45">
            <a:extLst>
              <a:ext uri="{FF2B5EF4-FFF2-40B4-BE49-F238E27FC236}">
                <a16:creationId xmlns:a16="http://schemas.microsoft.com/office/drawing/2014/main" id="{10D77620-0B64-FF84-DF04-74ADD53CC7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3116" name="Рисунок 1">
            <a:extLst>
              <a:ext uri="{FF2B5EF4-FFF2-40B4-BE49-F238E27FC236}">
                <a16:creationId xmlns:a16="http://schemas.microsoft.com/office/drawing/2014/main" id="{A5913F4C-66C6-E143-EB9D-0B7FE6C276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864" y="343265"/>
            <a:ext cx="846138" cy="846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7A75772-424C-BB39-0998-815B3D51824E}"/>
              </a:ext>
            </a:extLst>
          </p:cNvPr>
          <p:cNvSpPr txBox="1"/>
          <p:nvPr/>
        </p:nvSpPr>
        <p:spPr>
          <a:xfrm>
            <a:off x="1475479" y="325924"/>
            <a:ext cx="221157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РГП </a:t>
            </a:r>
            <a:r>
              <a:rPr lang="ru-RU" sz="1800" b="1" cap="none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на</a:t>
            </a:r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ПХВ</a:t>
            </a:r>
          </a:p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«ЦЕНТР АНАЛИЗА И ИНФОРМАЦИИ»</a:t>
            </a:r>
            <a:endParaRPr lang="id-ID" sz="1800" b="1" spc="0" dirty="0">
              <a:solidFill>
                <a:schemeClr val="accent4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945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9644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55895" y="410392"/>
            <a:ext cx="10515600" cy="606425"/>
          </a:xfrm>
        </p:spPr>
        <p:txBody>
          <a:bodyPr vert="horz">
            <a:normAutofit fontScale="90000"/>
          </a:bodyPr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</a:t>
            </a:r>
            <a:r>
              <a:rPr lang="ru-RU" sz="2700" b="1" dirty="0">
                <a:latin typeface="Times New Roman" panose="02020603050405020304" pitchFamily="18" charset="0"/>
                <a:ea typeface="Calibri" panose="020F0502020204030204" pitchFamily="34" charset="0"/>
              </a:rPr>
              <a:t>Первые упоминания о коррупции в истории человечества</a:t>
            </a:r>
            <a:br>
              <a:rPr lang="ru-RU" sz="2700" b="1" dirty="0">
                <a:latin typeface="Times New Roman" panose="02020603050405020304" pitchFamily="18" charset="0"/>
                <a:ea typeface="Calibri" panose="020F0502020204030204" pitchFamily="34" charset="0"/>
              </a:rPr>
            </a:br>
            <a:endParaRPr lang="ru-RU" sz="2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236613" y="1423357"/>
            <a:ext cx="9234881" cy="4544799"/>
          </a:xfrm>
        </p:spPr>
        <p:txBody>
          <a:bodyPr>
            <a:no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дним из первых свидетельств существования коррупции являются архивы Древнего Вавилона (вторая половина XXIV в. до н. э.), а позднее и знаменитые Законы вавилонского царя Хаммурапи (XIX в. до н. э.).  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*Аристотель в работе «Политика» выделял коррупцию как важнейший фактор, способный привести государство если не к гибели, то к вырождению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поминания о коррупции имеются и в восточных цивилизациях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*Аль-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араби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считал, что чиновники должны занимать свои должности в зависимости от способностей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048000" y="3105835"/>
            <a:ext cx="6096000" cy="286232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0466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0768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18216"/>
          </a:xfrm>
        </p:spPr>
        <p:txBody>
          <a:bodyPr vert="horz">
            <a:normAutofit fontScale="90000"/>
          </a:bodyPr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</a:t>
            </a:r>
            <a:r>
              <a:rPr lang="ru-RU" sz="27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пределение коррупции:</a:t>
            </a:r>
            <a:b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97997" y="1801906"/>
            <a:ext cx="10809973" cy="432794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</a:rPr>
              <a:t>Злоупотребление доверенной властью в личных целях (для получения личной выгоды) против интересов государства </a:t>
            </a:r>
          </a:p>
          <a:p>
            <a:pPr marL="0" indent="0" algn="just">
              <a:lnSpc>
                <a:spcPct val="107000"/>
              </a:lnSpc>
              <a:spcAft>
                <a:spcPts val="800"/>
              </a:spcAft>
              <a:buNone/>
            </a:pPr>
            <a:r>
              <a:rPr lang="ru-RU" sz="14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ЕДПОСЫЛКИ КОРРУПЦИИ</a:t>
            </a:r>
            <a:r>
              <a:rPr lang="en-GB" sz="14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endParaRPr lang="en-US" sz="1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spcAft>
                <a:spcPts val="800"/>
              </a:spcAft>
              <a:tabLst>
                <a:tab pos="228600" algn="l"/>
              </a:tabLst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ИОРИТЕТ ЛИЧНЫХ ИНТЕРЕСОВ У ГОССЛУЖАЩИХ ИЛИ СОТРУДНИКОВ ОРГАНИЗАЦИИ НАД ОБЩЕСТВЕННЫМИ ИЛИ КОРПОРАТИВНЫМИ 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spcAft>
                <a:spcPts val="800"/>
              </a:spcAft>
              <a:tabLst>
                <a:tab pos="228600" algn="l"/>
              </a:tabLst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Х СЛУЖЕБНОЕ ПОЛОЖЕНИЕ ИЛИ ДОЛЖНОСТНЫЕ ОБЯЗАННОСТИ СПОСОБСТВУЮТ  ПОЛУЧЕНИЮ ЛИЧНОЙ ВЫГОДЫ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spcAft>
                <a:spcPts val="800"/>
              </a:spcAft>
              <a:tabLst>
                <a:tab pos="228600" algn="l"/>
              </a:tabLst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СУТСТВИЕ ИЛИ НЕ ЭФФЕКТИВНЫЕ СТОП-ФАКТОРЫ (ПРОЦЕДУРА УВЕДОМЛЕНИЯ О КОНФЛИКТЕ ИНТЕРЕСОВ И Т.Д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spcAft>
                <a:spcPts val="800"/>
              </a:spcAft>
              <a:tabLst>
                <a:tab pos="228600" algn="l"/>
              </a:tabLst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СЧЕТ НА ТО, ЧТО ДОХОД ОТ КОРРУПЦИИ БУДЕТ ПРЕВЫШАТЬ ВОЗМОЖНЫЙ УЩЕРБ И НАКАЗАНИЯ МОЖНО БУДЕТ ИЗБЕЖАТЬ ИЛИ ОНО БУДЕТ МЯГКИМ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spcAft>
                <a:spcPts val="800"/>
              </a:spcAft>
              <a:tabLst>
                <a:tab pos="457200" algn="l"/>
              </a:tabLst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ЖАДНОСТЬ, ЧУСТВО ЛИЧНОЙ НАЖИВЫ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55DBAF-F1AE-4427-F6BC-E5D410196564}"/>
              </a:ext>
            </a:extLst>
          </p:cNvPr>
          <p:cNvSpPr txBox="1"/>
          <p:nvPr/>
        </p:nvSpPr>
        <p:spPr>
          <a:xfrm>
            <a:off x="1475479" y="325924"/>
            <a:ext cx="221157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РГП </a:t>
            </a:r>
            <a:r>
              <a:rPr lang="ru-RU" sz="1800" b="1" cap="none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на</a:t>
            </a:r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ПХВ</a:t>
            </a:r>
          </a:p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«ЦЕНТР АНАЛИЗА И ИНФОРМАЦИИ»</a:t>
            </a:r>
            <a:endParaRPr lang="id-ID" sz="1800" b="1" spc="0" dirty="0">
              <a:solidFill>
                <a:schemeClr val="accent4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BD6B790-60F8-1274-35D1-3CF6ECF400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9134" y="325924"/>
            <a:ext cx="846345" cy="84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5134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5754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06425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</a:t>
            </a:r>
            <a:r>
              <a:rPr lang="ru-RU" sz="27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ЯСНЕНИЕ ТЕРМИНОВ</a:t>
            </a:r>
            <a:br>
              <a:rPr lang="en-US" sz="27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sz="2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618684" y="1285336"/>
            <a:ext cx="9949339" cy="5187182"/>
          </a:xfrm>
        </p:spPr>
        <p:txBody>
          <a:bodyPr>
            <a:noAutofit/>
          </a:bodyPr>
          <a:lstStyle/>
          <a:p>
            <a:pPr lvl="0" algn="just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онные правонарушения –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авонарушения, наказание за совершение которых предусмотрено статьями Уголовного кодекса</a:t>
            </a: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 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онные риски - 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любые внутренние и внешние вопросы, которые могут повлечь за собой коррупцию в государственном секторе.  Коррупционный риск может быть связан с конфликтом интересов, несовместимостью функций, получением запрещенных подарков и иной нелегальной выгод и др</a:t>
            </a: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правление коррупционными рисками: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оцесс, охватывающий идентификацию рисков и риск-факторов, их оценку, контроль и мониторинг.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рушение добросовестности  -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рушение правил и норм, определенных Постановлением правительства об определении общих правил поведения и этики в государственных учреждениях. А также нарушение правил поведения и этики, установленных специализированным законодательством.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ормирование антикоррупционной культуры –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еятельность, осуществляемая субъектами противодействия коррупции в пределах своей компетенции по сохранению и укреплению в обществе системы ценностей, отражающей нетерпимость к коррупции.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ормирование антикоррупционного сознания –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епрерывный процесс воспитания и обучения, осуществляемый в целях нравственного, интеллектуального, культурного развития и формирования активной гражданской позиции неприятия коррупции личностью.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buFont typeface="Wingdings" panose="05000000000000000000" pitchFamily="2" charset="2"/>
              <a:buChar char="Ø"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048000" y="2551837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FFDFE37-FDDB-DD87-C3F7-E91B29450230}"/>
              </a:ext>
            </a:extLst>
          </p:cNvPr>
          <p:cNvSpPr txBox="1"/>
          <p:nvPr/>
        </p:nvSpPr>
        <p:spPr>
          <a:xfrm>
            <a:off x="1475479" y="325924"/>
            <a:ext cx="221157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РГП </a:t>
            </a:r>
            <a:r>
              <a:rPr lang="ru-RU" sz="1800" b="1" cap="none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на</a:t>
            </a:r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ПХВ</a:t>
            </a:r>
          </a:p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«ЦЕНТР АНАЛИЗА И ИНФОРМАЦИИ»</a:t>
            </a:r>
            <a:endParaRPr lang="id-ID" sz="1800" b="1" spc="0" dirty="0">
              <a:solidFill>
                <a:schemeClr val="accent4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20D94E9-0D05-B49A-4FD5-1BD4CC5FCF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9134" y="325924"/>
            <a:ext cx="846345" cy="84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4900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5754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06425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</a:t>
            </a:r>
            <a:b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7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ИПЫ КОРРУПЦИИ</a:t>
            </a:r>
            <a:br>
              <a:rPr lang="kk-KZ" sz="27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sz="2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600297" y="1397479"/>
            <a:ext cx="9838329" cy="5354353"/>
          </a:xfrm>
        </p:spPr>
        <p:txBody>
          <a:bodyPr>
            <a:norm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</a:rPr>
              <a:t>Регулярная коррупция: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Люди знают, что если они регулярно оплачивают какие-то суммы в виде взяток, их проблемы решаются, Однако, стоит перестать платить, и проблемы начнутся снова. Оплата гарантирует исполнение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</a:rPr>
              <a:t> Хаотическая коррупция: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Имеет место, когда взятки не гарантируют исполнение договоренностей – услуги не оказываются, разрешения не выдаются, штрафы не аннулируются и т.д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</a:rPr>
              <a:t>Бытовая коррупция: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Возникает, когда люди пытаются удовлетворить свои бытовые потребности – найти работу, устроить детей в сад и школу, получить медицинские услуги, другие государственные услуги для своих нужд.</a:t>
            </a:r>
            <a:r>
              <a:rPr lang="kk-KZ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ще одна причина – попытка избежать наказания, штрафов, снизить или исключить ответственность и т.д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</a:rPr>
              <a:t>Системная коррупция: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Возникает, когда люди ищут дополнительные источники прибыли – получить госзаказ, выгодный контракт или провести операции с госимуществом и т.д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None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048000" y="2551837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98469E3-38B6-4638-2ACB-FE909E7F30FC}"/>
              </a:ext>
            </a:extLst>
          </p:cNvPr>
          <p:cNvSpPr txBox="1"/>
          <p:nvPr/>
        </p:nvSpPr>
        <p:spPr>
          <a:xfrm>
            <a:off x="1475479" y="325924"/>
            <a:ext cx="221157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РГП </a:t>
            </a:r>
            <a:r>
              <a:rPr lang="ru-RU" sz="1800" b="1" cap="none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на</a:t>
            </a:r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ПХВ</a:t>
            </a:r>
          </a:p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«ЦЕНТР АНАЛИЗА И ИНФОРМАЦИИ»</a:t>
            </a:r>
            <a:endParaRPr lang="id-ID" sz="1800" b="1" spc="0" dirty="0">
              <a:solidFill>
                <a:schemeClr val="accent4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8EB232E-E22B-C854-E1C1-F7773DED0F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9134" y="325924"/>
            <a:ext cx="846345" cy="84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6662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450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35025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ru-RU" dirty="0"/>
              <a:t>               </a:t>
            </a:r>
            <a:br>
              <a:rPr lang="ru-RU" dirty="0"/>
            </a:br>
            <a:br>
              <a:rPr lang="ru-RU" dirty="0"/>
            </a:b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Объект 2"/>
          <p:cNvSpPr>
            <a:spLocks noGrp="1"/>
          </p:cNvSpPr>
          <p:nvPr>
            <p:ph idx="1"/>
          </p:nvPr>
        </p:nvSpPr>
        <p:spPr>
          <a:xfrm>
            <a:off x="1600297" y="1423358"/>
            <a:ext cx="8682390" cy="1043798"/>
          </a:xfrm>
        </p:spPr>
        <p:txBody>
          <a:bodyPr>
            <a:normAutofit/>
          </a:bodyPr>
          <a:lstStyle/>
          <a:p>
            <a:pPr marL="0" indent="0">
              <a:lnSpc>
                <a:spcPct val="107000"/>
              </a:lnSpc>
              <a:buNone/>
            </a:pPr>
            <a:endParaRPr lang="ru-RU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107000"/>
              </a:lnSpc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иды коррупции внутри организации и с участием третьих лиц: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9247636"/>
              </p:ext>
            </p:extLst>
          </p:nvPr>
        </p:nvGraphicFramePr>
        <p:xfrm>
          <a:off x="1466490" y="2690364"/>
          <a:ext cx="9721970" cy="2641890"/>
        </p:xfrm>
        <a:graphic>
          <a:graphicData uri="http://schemas.openxmlformats.org/drawingml/2006/table">
            <a:tbl>
              <a:tblPr firstRow="1" firstCol="1" bandRow="1"/>
              <a:tblGrid>
                <a:gridCol w="4860985">
                  <a:extLst>
                    <a:ext uri="{9D8B030D-6E8A-4147-A177-3AD203B41FA5}">
                      <a16:colId xmlns:a16="http://schemas.microsoft.com/office/drawing/2014/main" val="140382813"/>
                    </a:ext>
                  </a:extLst>
                </a:gridCol>
                <a:gridCol w="4860985">
                  <a:extLst>
                    <a:ext uri="{9D8B030D-6E8A-4147-A177-3AD203B41FA5}">
                      <a16:colId xmlns:a16="http://schemas.microsoft.com/office/drawing/2014/main" val="2222890835"/>
                    </a:ext>
                  </a:extLst>
                </a:gridCol>
              </a:tblGrid>
              <a:tr h="120085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нутри организации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Хищение в государственном и частном секторах;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Растрата, подлог, другие формы злоупотребления служебным положением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2224478"/>
                  </a:ext>
                </a:extLst>
              </a:tr>
              <a:tr h="144103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участием третьих лиц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Взяточничество;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Торговля влиянием;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Незаконное обогащение;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Отмывание денег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2874361"/>
                  </a:ext>
                </a:extLst>
              </a:tr>
            </a:tbl>
          </a:graphicData>
        </a:graphic>
      </p:graphicFrame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09907C3-DA3E-DEE8-017E-2F1F386FEC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9134" y="325924"/>
            <a:ext cx="846345" cy="84634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91ED4E3-39C4-5FD9-0734-D914B0ED1315}"/>
              </a:ext>
            </a:extLst>
          </p:cNvPr>
          <p:cNvSpPr txBox="1"/>
          <p:nvPr/>
        </p:nvSpPr>
        <p:spPr>
          <a:xfrm>
            <a:off x="1475479" y="325924"/>
            <a:ext cx="221157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РГП </a:t>
            </a:r>
            <a:r>
              <a:rPr lang="ru-RU" sz="1800" b="1" cap="none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на</a:t>
            </a:r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ПХВ</a:t>
            </a:r>
          </a:p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«ЦЕНТР АНАЛИЗА И ИНФОРМАЦИИ»</a:t>
            </a:r>
            <a:endParaRPr lang="id-ID" sz="1800" b="1" spc="0" dirty="0">
              <a:solidFill>
                <a:schemeClr val="accent4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19168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9433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35025"/>
          </a:xfrm>
        </p:spPr>
        <p:txBody>
          <a:bodyPr vert="horz"/>
          <a:lstStyle/>
          <a:p>
            <a:r>
              <a:rPr lang="ru-RU" dirty="0"/>
              <a:t>               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274322" y="2145746"/>
            <a:ext cx="80787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Объект 2"/>
          <p:cNvSpPr>
            <a:spLocks noGrp="1"/>
          </p:cNvSpPr>
          <p:nvPr>
            <p:ph idx="1"/>
          </p:nvPr>
        </p:nvSpPr>
        <p:spPr>
          <a:xfrm>
            <a:off x="1600297" y="1483743"/>
            <a:ext cx="9691680" cy="5268089"/>
          </a:xfrm>
        </p:spPr>
        <p:txBody>
          <a:bodyPr>
            <a:normAutofit/>
          </a:bodyPr>
          <a:lstStyle/>
          <a:p>
            <a:pPr marL="0" indent="0" algn="ctr">
              <a:lnSpc>
                <a:spcPct val="107000"/>
              </a:lnSpc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зличные теории происхождения коррупции: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 algn="just">
              <a:lnSpc>
                <a:spcPct val="107000"/>
              </a:lnSpc>
              <a:buNone/>
            </a:pPr>
            <a:r>
              <a:rPr lang="ru-RU" b="1" u="sng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. Теория экономической ренты: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07000"/>
              </a:lnSpc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Это любой доход, отличный от трудового дохода и дохода от вложения капитала.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07000"/>
              </a:lnSpc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ак это объясняет коррупцию?</a:t>
            </a:r>
            <a:r>
              <a:rPr lang="ru-RU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сли человек извлекает доход, помимо своей зарплаты, используя служебные обязанности, буквально из своей должности, для себя, для личных целей. 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07000"/>
              </a:lnSpc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скатели ренты – те, кто в целях получения дополнительной прибыли без дополнительных вложений и производственных затрат, ищут нужную должность, нужный контракт, нужных посредников, а также тех, кто имеет возможности для использования ренты и хотел бы это сделать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07000"/>
              </a:lnSpc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аким образом появляются коррупционные схемы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 algn="just">
              <a:buNone/>
              <a:tabLst>
                <a:tab pos="540385" algn="l"/>
              </a:tabLst>
            </a:pP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 algn="just">
              <a:buFont typeface="Times New Roman" panose="02020603050405020304" pitchFamily="18" charset="0"/>
              <a:buChar char="-"/>
              <a:tabLst>
                <a:tab pos="540385" algn="l"/>
              </a:tabLst>
            </a:pP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 algn="just">
              <a:buFont typeface="Times New Roman" panose="02020603050405020304" pitchFamily="18" charset="0"/>
              <a:buChar char="-"/>
              <a:tabLst>
                <a:tab pos="540385" algn="l"/>
              </a:tabLst>
            </a:pP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BC3A6FB-C686-61E2-B3E0-FF69D93854C7}"/>
              </a:ext>
            </a:extLst>
          </p:cNvPr>
          <p:cNvSpPr txBox="1"/>
          <p:nvPr/>
        </p:nvSpPr>
        <p:spPr>
          <a:xfrm>
            <a:off x="1475479" y="325924"/>
            <a:ext cx="221157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РГП </a:t>
            </a:r>
            <a:r>
              <a:rPr lang="ru-RU" sz="1800" b="1" cap="none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на</a:t>
            </a:r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ПХВ</a:t>
            </a:r>
          </a:p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«ЦЕНТР АНАЛИЗА И ИНФОРМАЦИИ»</a:t>
            </a:r>
            <a:endParaRPr lang="id-ID" sz="1800" b="1" spc="0" dirty="0">
              <a:solidFill>
                <a:schemeClr val="accent4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3960B0C-7810-BD3E-29CE-B9B8108031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9134" y="325924"/>
            <a:ext cx="846345" cy="84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3457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9433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35025"/>
          </a:xfrm>
        </p:spPr>
        <p:txBody>
          <a:bodyPr vert="horz"/>
          <a:lstStyle/>
          <a:p>
            <a:r>
              <a:rPr lang="ru-RU" dirty="0"/>
              <a:t>               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274322" y="2145746"/>
            <a:ext cx="80787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Объект 2"/>
          <p:cNvSpPr>
            <a:spLocks noGrp="1"/>
          </p:cNvSpPr>
          <p:nvPr>
            <p:ph idx="1"/>
          </p:nvPr>
        </p:nvSpPr>
        <p:spPr>
          <a:xfrm>
            <a:off x="1600297" y="1639019"/>
            <a:ext cx="9976352" cy="5112813"/>
          </a:xfrm>
        </p:spPr>
        <p:txBody>
          <a:bodyPr>
            <a:normAutofit/>
          </a:bodyPr>
          <a:lstStyle/>
          <a:p>
            <a:pPr marL="0" lvl="0" indent="0" algn="just">
              <a:lnSpc>
                <a:spcPct val="107000"/>
              </a:lnSpc>
              <a:buNone/>
            </a:pPr>
            <a:r>
              <a:rPr lang="ru-RU" b="1" u="sng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Политическая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 algn="just">
              <a:lnSpc>
                <a:spcPct val="107000"/>
              </a:lnSpc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изкий уровень политической конкуренции приводит к доминированию одной политической силы и слабым общественным институтам. Коррупция развивается, потому что никто не выполняет функции «сторожевого пса», возможности контроля со стороны общества сильно ограничены.  Монопольная власть и свобода действий без подотчетности создают риски коррупции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 algn="just">
              <a:lnSpc>
                <a:spcPct val="107000"/>
              </a:lnSpc>
              <a:buNone/>
            </a:pPr>
            <a:r>
              <a:rPr lang="ru-RU" b="1" u="sng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. Культурологическая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 algn="just">
              <a:lnSpc>
                <a:spcPct val="107000"/>
              </a:lnSpc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ормы права имеют значение, но все равно все зависит от культуры. Взятки и подарки сложно различить. Есть нации, у которых есть культурный код - постоянно думать о благодарности за услугу, иначе это будет нарушением культурных обычаев. 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 algn="just">
              <a:buNone/>
              <a:tabLst>
                <a:tab pos="540385" algn="l"/>
              </a:tabLst>
            </a:pP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 algn="just">
              <a:buFont typeface="Times New Roman" panose="02020603050405020304" pitchFamily="18" charset="0"/>
              <a:buChar char="-"/>
              <a:tabLst>
                <a:tab pos="540385" algn="l"/>
              </a:tabLst>
            </a:pP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 algn="just">
              <a:buFont typeface="Times New Roman" panose="02020603050405020304" pitchFamily="18" charset="0"/>
              <a:buChar char="-"/>
              <a:tabLst>
                <a:tab pos="540385" algn="l"/>
              </a:tabLst>
            </a:pP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 algn="just">
              <a:buFont typeface="Times New Roman" panose="02020603050405020304" pitchFamily="18" charset="0"/>
              <a:buChar char="-"/>
              <a:tabLst>
                <a:tab pos="540385" algn="l"/>
              </a:tabLst>
            </a:pP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D033708-A60E-FBD0-DED8-92C466D709FC}"/>
              </a:ext>
            </a:extLst>
          </p:cNvPr>
          <p:cNvSpPr txBox="1"/>
          <p:nvPr/>
        </p:nvSpPr>
        <p:spPr>
          <a:xfrm>
            <a:off x="1475479" y="325924"/>
            <a:ext cx="221157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РГП </a:t>
            </a:r>
            <a:r>
              <a:rPr lang="ru-RU" sz="1800" b="1" cap="none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на</a:t>
            </a:r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ПХВ</a:t>
            </a:r>
          </a:p>
          <a:p>
            <a:pPr algn="ctr"/>
            <a:r>
              <a:rPr lang="ru-RU" sz="1800" b="1" spc="0" dirty="0">
                <a:solidFill>
                  <a:schemeClr val="accent4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«ЦЕНТР АНАЛИЗА И ИНФОРМАЦИИ»</a:t>
            </a:r>
            <a:endParaRPr lang="id-ID" sz="1800" b="1" spc="0" dirty="0">
              <a:solidFill>
                <a:schemeClr val="accent4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3EFD9E4-F389-A407-C4FF-B4B2A19F64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9134" y="325924"/>
            <a:ext cx="846345" cy="846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441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Легкий дым">
  <a:themeElements>
    <a:clrScheme name="Легкий дым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Легкий дым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Легкий дым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1355</TotalTime>
  <Words>1488</Words>
  <Application>Microsoft Office PowerPoint</Application>
  <PresentationFormat>Широкоэкранный</PresentationFormat>
  <Paragraphs>172</Paragraphs>
  <Slides>14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2" baseType="lpstr">
      <vt:lpstr>Arial</vt:lpstr>
      <vt:lpstr>Calibri</vt:lpstr>
      <vt:lpstr>Century Gothic</vt:lpstr>
      <vt:lpstr>Times New Roman</vt:lpstr>
      <vt:lpstr>Wingdings</vt:lpstr>
      <vt:lpstr>Wingdings 3</vt:lpstr>
      <vt:lpstr>Легкий дым</vt:lpstr>
      <vt:lpstr>Слайд think-cell</vt:lpstr>
      <vt:lpstr>Презентация PowerPoint</vt:lpstr>
      <vt:lpstr>       </vt:lpstr>
      <vt:lpstr>                 Первые упоминания о коррупции в истории человечества </vt:lpstr>
      <vt:lpstr>                                    Определение коррупции: </vt:lpstr>
      <vt:lpstr>                 ПОЯСНЕНИЕ ТЕРМИНОВ </vt:lpstr>
      <vt:lpstr>                  ТИПЫ КОРРУПЦИИ </vt:lpstr>
      <vt:lpstr>                 </vt:lpstr>
      <vt:lpstr>               </vt:lpstr>
      <vt:lpstr>             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Dina Priemnaya</dc:creator>
  <cp:lastModifiedBy>Балабаева Айнур</cp:lastModifiedBy>
  <cp:revision>100</cp:revision>
  <cp:lastPrinted>2021-10-25T03:54:46Z</cp:lastPrinted>
  <dcterms:created xsi:type="dcterms:W3CDTF">2019-10-03T03:36:37Z</dcterms:created>
  <dcterms:modified xsi:type="dcterms:W3CDTF">2024-04-03T09:47:02Z</dcterms:modified>
</cp:coreProperties>
</file>